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1134"/>
    <a:srgbClr val="343A40"/>
    <a:srgbClr val="4A86E8"/>
    <a:srgbClr val="1C7FFF"/>
    <a:srgbClr val="1528BC"/>
    <a:srgbClr val="99D5E1"/>
    <a:srgbClr val="6EADFF"/>
    <a:srgbClr val="DE0737"/>
    <a:srgbClr val="FFA965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DED9E3-9955-4AC3-9F9B-054F1D7402CC}" v="16" dt="2023-08-29T10:42:24.787"/>
    <p1510:client id="{89AD96FE-4594-4B42-BEEC-877688A06746}" v="25" dt="2023-10-09T12:26:07.920"/>
    <p1510:client id="{96DD28EE-3064-4F13-84DB-354F7EF2501C}" v="7" dt="2023-08-28T14:54:04.2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94694"/>
  </p:normalViewPr>
  <p:slideViewPr>
    <p:cSldViewPr snapToGrid="0" snapToObjects="1">
      <p:cViewPr varScale="1">
        <p:scale>
          <a:sx n="94" d="100"/>
          <a:sy n="94" d="100"/>
        </p:scale>
        <p:origin x="1392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enm29VOJ.AwFYyVoVs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2.xml><?xml version="1.0" encoding="utf-8"?>
<a:theme xmlns:a="http://schemas.openxmlformats.org/drawingml/2006/main" name="2_637048354258549975">
  <a:themeElements>
    <a:clrScheme name="637048354258549976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63704835425854997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Presentation1" id="{92CA7061-1D1D-4875-A9EB-CF4EB6DEDFD5}" vid="{E8B4243A-C512-4629-BB60-4C423ADE5BF9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EE8D967367C4F43800F524D0FB25F14" ma:contentTypeVersion="11" ma:contentTypeDescription="Creare un nuovo documento." ma:contentTypeScope="" ma:versionID="c1099028e2c707deff4925f0c81a2da3">
  <xsd:schema xmlns:xsd="http://www.w3.org/2001/XMLSchema" xmlns:xs="http://www.w3.org/2001/XMLSchema" xmlns:p="http://schemas.microsoft.com/office/2006/metadata/properties" xmlns:ns2="61dc867b-cde0-418c-8f68-453c80a5486d" xmlns:ns3="9c2f6c11-a5d2-4411-8a2d-6b39d3ef753b" targetNamespace="http://schemas.microsoft.com/office/2006/metadata/properties" ma:root="true" ma:fieldsID="39049a443f12e5fe7eaa95236354b6fb" ns2:_="" ns3:_="">
    <xsd:import namespace="61dc867b-cde0-418c-8f68-453c80a5486d"/>
    <xsd:import namespace="9c2f6c11-a5d2-4411-8a2d-6b39d3ef75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dc867b-cde0-418c-8f68-453c80a548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Tag immagine" ma:readOnly="false" ma:fieldId="{5cf76f15-5ced-4ddc-b409-7134ff3c332f}" ma:taxonomyMulti="true" ma:sspId="b5cfcbd8-6033-42e0-bf64-395394fc0a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2f6c11-a5d2-4411-8a2d-6b39d3ef753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Colonna per tutti i valori di tassonomia" ma:hidden="true" ma:list="{68c33b50-0603-471a-9307-77a9cfe783aa}" ma:internalName="TaxCatchAll" ma:showField="CatchAllData" ma:web="9c2f6c11-a5d2-4411-8a2d-6b39d3ef75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c2f6c11-a5d2-4411-8a2d-6b39d3ef753b">
      <UserInfo>
        <DisplayName/>
        <AccountId xsi:nil="true"/>
        <AccountType/>
      </UserInfo>
    </SharedWithUsers>
    <lcf76f155ced4ddcb4097134ff3c332f xmlns="61dc867b-cde0-418c-8f68-453c80a5486d">
      <Terms xmlns="http://schemas.microsoft.com/office/infopath/2007/PartnerControls"/>
    </lcf76f155ced4ddcb4097134ff3c332f>
    <TaxCatchAll xmlns="9c2f6c11-a5d2-4411-8a2d-6b39d3ef753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6098205-0143-4E4F-ACB8-01130A43B8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1dc867b-cde0-418c-8f68-453c80a5486d"/>
    <ds:schemaRef ds:uri="9c2f6c11-a5d2-4411-8a2d-6b39d3ef75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45ADB44-0D82-4A34-BA3C-4DB13D7AEEA2}">
  <ds:schemaRefs>
    <ds:schemaRef ds:uri="http://schemas.microsoft.com/office/2006/metadata/properties"/>
    <ds:schemaRef ds:uri="http://schemas.microsoft.com/office/infopath/2007/PartnerControls"/>
    <ds:schemaRef ds:uri="9c2f6c11-a5d2-4411-8a2d-6b39d3ef753b"/>
    <ds:schemaRef ds:uri="61dc867b-cde0-418c-8f68-453c80a5486d"/>
  </ds:schemaRefs>
</ds:datastoreItem>
</file>

<file path=customXml/itemProps3.xml><?xml version="1.0" encoding="utf-8"?>
<ds:datastoreItem xmlns:ds="http://schemas.openxmlformats.org/officeDocument/2006/customXml" ds:itemID="{493E0D3C-D8FE-4522-AFF2-D5C8D131F0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577</TotalTime>
  <Words>833</Words>
  <Application>Microsoft Office PowerPoint</Application>
  <PresentationFormat>Widescreen</PresentationFormat>
  <Paragraphs>120</Paragraphs>
  <Slides>12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2</vt:i4>
      </vt:variant>
    </vt:vector>
  </HeadingPairs>
  <TitlesOfParts>
    <vt:vector size="24" baseType="lpstr">
      <vt:lpstr>Arial</vt:lpstr>
      <vt:lpstr>Arial,Sans-Serif</vt:lpstr>
      <vt:lpstr>Calibri</vt:lpstr>
      <vt:lpstr>Calibri Light</vt:lpstr>
      <vt:lpstr>Consolas</vt:lpstr>
      <vt:lpstr>EYInterstate Light</vt:lpstr>
      <vt:lpstr>Titillium</vt:lpstr>
      <vt:lpstr>Titillium Web</vt:lpstr>
      <vt:lpstr>Titillium Web SemiBold</vt:lpstr>
      <vt:lpstr>Tema di Office</vt:lpstr>
      <vt:lpstr>2_637048354258549975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ntro Nazionale HPC, Big Data e Quantum Computing</dc:title>
  <dc:creator>Microsoft Office User</dc:creator>
  <cp:lastModifiedBy>Domingo Ranieri</cp:lastModifiedBy>
  <cp:revision>406</cp:revision>
  <dcterms:created xsi:type="dcterms:W3CDTF">2022-07-26T13:28:46Z</dcterms:created>
  <dcterms:modified xsi:type="dcterms:W3CDTF">2024-12-11T18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lpwstr>323600.000000000</vt:lpwstr>
  </property>
  <property fmtid="{D5CDD505-2E9C-101B-9397-08002B2CF9AE}" pid="3" name="xd_ProgID">
    <vt:lpwstr/>
  </property>
  <property fmtid="{D5CDD505-2E9C-101B-9397-08002B2CF9AE}" pid="4" name="MediaServiceImageTags">
    <vt:lpwstr/>
  </property>
  <property fmtid="{D5CDD505-2E9C-101B-9397-08002B2CF9AE}" pid="5" name="ContentTypeId">
    <vt:lpwstr>0x010100EEE8D967367C4F43800F524D0FB25F14</vt:lpwstr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xd_Signature">
    <vt:lpwstr/>
  </property>
</Properties>
</file>